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7" r:id="rId3"/>
    <p:sldId id="279" r:id="rId4"/>
    <p:sldId id="280" r:id="rId5"/>
    <p:sldId id="282" r:id="rId6"/>
    <p:sldId id="281" r:id="rId7"/>
    <p:sldId id="283" r:id="rId8"/>
    <p:sldId id="284" r:id="rId9"/>
    <p:sldId id="268" r:id="rId10"/>
    <p:sldId id="285" r:id="rId11"/>
    <p:sldId id="271" r:id="rId12"/>
    <p:sldId id="286" r:id="rId13"/>
    <p:sldId id="287" r:id="rId14"/>
    <p:sldId id="258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2" y="1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Οδηγός για τον </a:t>
            </a:r>
            <a:r>
              <a:rPr kumimoji="0" lang="el-GR" sz="72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Εύδοξο</a:t>
            </a:r>
            <a:b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</a:br>
            <a:r>
              <a:rPr kumimoji="0" lang="el-GR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Ζουρμπάκης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Αλκίνοος/ Διδακτορικός φοιτητής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154955" y="5071693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1154955" y="5849748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5179" y="5472071"/>
            <a:ext cx="3246249" cy="112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ηλώσεις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C38E271F-A56C-E0D6-E421-F53A4667AB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1A3431C-EDDA-2501-9C0E-FDFCB20340A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283483" y="205298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57541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Εικόνα 5">
            <a:extLst>
              <a:ext uri="{FF2B5EF4-FFF2-40B4-BE49-F238E27FC236}">
                <a16:creationId xmlns:a16="http://schemas.microsoft.com/office/drawing/2014/main" id="{D4488605-C8C1-90C1-28F3-80A812C16E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026" y="1827155"/>
            <a:ext cx="10182224" cy="4535545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C1E13DF-F7C1-BC85-7E50-0C47A8F2BB4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799338" y="2278283"/>
            <a:ext cx="616064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Νέα δήλω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060474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Επιλογή συγγραμμάτων σε κάθε μάθημ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8E4C4BAE-7C06-3BCA-6BD6-E90C3683B2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150" y="1895243"/>
            <a:ext cx="10658475" cy="455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099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2640317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Σας ευχαριστώ πολύ!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1773897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Εικόνα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6874" y="4882391"/>
            <a:ext cx="3629025" cy="1257300"/>
          </a:xfrm>
          <a:prstGeom prst="rect">
            <a:avLst/>
          </a:prstGeom>
        </p:spPr>
      </p:pic>
      <p:sp>
        <p:nvSpPr>
          <p:cNvPr id="5" name="Ορθογώνιο 4"/>
          <p:cNvSpPr/>
          <p:nvPr/>
        </p:nvSpPr>
        <p:spPr>
          <a:xfrm>
            <a:off x="768264" y="488239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 με τη Συγχρηματοδότησης της Ευρωπαϊκής Ένωσης</a:t>
            </a:r>
          </a:p>
        </p:txBody>
      </p:sp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id="{DBEDDE4A-00C2-35C4-7C97-0B38C27C694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844" t="3705" r="40355" b="64295"/>
          <a:stretch/>
        </p:blipFill>
        <p:spPr>
          <a:xfrm>
            <a:off x="2133601" y="1400175"/>
            <a:ext cx="2971800" cy="21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8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 err="1"/>
              <a:t>Εύδοξος</a:t>
            </a:r>
            <a:r>
              <a:rPr lang="el-GR" sz="3600" dirty="0"/>
              <a:t>-επιλογή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31876068-ADF4-A177-655C-E1CC77426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450" y="1753643"/>
            <a:ext cx="10372725" cy="4485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71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 err="1"/>
              <a:t>Εύδοξος</a:t>
            </a:r>
            <a:r>
              <a:rPr lang="el-GR" sz="3600" dirty="0"/>
              <a:t>- Εγγραφή/Είσοδο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31876068-ADF4-A177-655C-E1CC77426F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450" y="1753643"/>
            <a:ext cx="10372725" cy="4485231"/>
          </a:xfrm>
          <a:prstGeom prst="rect">
            <a:avLst/>
          </a:prstGeom>
        </p:spPr>
      </p:pic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114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el-GR" sz="3600" dirty="0"/>
              <a:t>Επιλογή-Επιβεβαίωση πανεπιστημίου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11FE6D22-D125-F320-49B8-8B8BA1F914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451" y="1858241"/>
            <a:ext cx="10351095" cy="4485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549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Χρήση κωδικών για είσοδο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CE449F18-E8B0-8436-25A7-9C53D5C1A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494" y="1867813"/>
            <a:ext cx="10326060" cy="446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07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 </a:t>
            </a:r>
            <a:r>
              <a:rPr lang="el-GR" sz="3600" dirty="0" err="1"/>
              <a:t>Εύδοξος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5F4DDDFB-0C80-70A2-006B-B74735ECC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451" y="1865539"/>
            <a:ext cx="10351095" cy="447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6045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φαρμογή Φοιτητ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5F4DDDFB-0C80-70A2-006B-B74735ECC5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451" y="1865539"/>
            <a:ext cx="10351095" cy="4470634"/>
          </a:xfrm>
          <a:prstGeom prst="rect">
            <a:avLst/>
          </a:prstGeom>
        </p:spPr>
      </p:pic>
      <p:sp>
        <p:nvSpPr>
          <p:cNvPr id="6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EEB6B91-A1C5-6955-9727-84334530B02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0800000">
            <a:off x="2873958" y="410085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935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Έλεγχος στοιχείων φοιτητή και όροι και </a:t>
            </a:r>
            <a:r>
              <a:rPr lang="el-GR" sz="3600" dirty="0" err="1"/>
              <a:t>προυποθέσεις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EFC1FEE4-2BA9-2FF8-5952-A441B33202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1514" y="1824904"/>
            <a:ext cx="5161276" cy="4551906"/>
          </a:xfrm>
          <a:prstGeom prst="rect">
            <a:avLst/>
          </a:prstGeom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id="{918E84F0-9010-B63A-646C-3170C949F5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899" y="1824904"/>
            <a:ext cx="5266615" cy="4551906"/>
          </a:xfrm>
          <a:prstGeom prst="rect">
            <a:avLst/>
          </a:prstGeom>
        </p:spPr>
      </p:pic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B8F29FA-5DC1-DDCE-F27C-6393FAA2B15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6855408" y="529208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803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 δήλωσης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C38E271F-A56C-E0D6-E421-F53A4667A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660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</TotalTime>
  <Words>207</Words>
  <Application>Microsoft Office PowerPoint</Application>
  <PresentationFormat>Ευρεία οθόνη</PresentationFormat>
  <Paragraphs>29</Paragraphs>
  <Slides>14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4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4</vt:i4>
      </vt:variant>
    </vt:vector>
  </HeadingPairs>
  <TitlesOfParts>
    <vt:vector size="19" baseType="lpstr">
      <vt:lpstr>Arial</vt:lpstr>
      <vt:lpstr>Calibri</vt:lpstr>
      <vt:lpstr>Century Gothic</vt:lpstr>
      <vt:lpstr>Wingdings 3</vt:lpstr>
      <vt:lpstr>Ιόν</vt:lpstr>
      <vt:lpstr>Οδηγός για τον Εύδοξο Ζουρμπάκης Αλκίνοος/ Διδακτορικός φοιτητή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Alkis zourmpakis</cp:lastModifiedBy>
  <cp:revision>10</cp:revision>
  <dcterms:created xsi:type="dcterms:W3CDTF">2023-09-21T10:16:00Z</dcterms:created>
  <dcterms:modified xsi:type="dcterms:W3CDTF">2023-09-27T14:39:19Z</dcterms:modified>
</cp:coreProperties>
</file>